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9406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49974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8402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1714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4929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3333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869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931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1930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62747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1858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15198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615088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03197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2062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3534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18912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88812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7686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2003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64380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25523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de954b9e9c6a5603efb21722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6A1D07A-082C-4B6D-899D-F3BD3BCB077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6667054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Improve production performance</a:t>
            </a:r>
            <a:endParaRPr lang="fr-FR" altLang="fr-FR" sz="3000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9826"/>
            <a:ext cx="7539038" cy="288925"/>
          </a:xfrm>
        </p:spPr>
        <p:txBody>
          <a:bodyPr/>
          <a:lstStyle/>
          <a:p>
            <a:r>
              <a:rPr lang="en-US" sz="1800" dirty="0"/>
              <a:t>Inlet dosing modular MCC chain </a:t>
            </a:r>
            <a:endParaRPr lang="fr-FR" altLang="fr-FR" sz="1800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Efficiency, Maintenance</a:t>
            </a:r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r>
              <a:rPr lang="en-US" sz="800" kern="0" dirty="0"/>
              <a:t> </a:t>
            </a:r>
          </a:p>
          <a:p>
            <a:r>
              <a:rPr lang="en-US" sz="800" kern="0" dirty="0"/>
              <a:t>Catalogue code</a:t>
            </a:r>
            <a:r>
              <a:rPr lang="en-US" sz="800" kern="0"/>
              <a:t>: EOL021</a:t>
            </a:r>
            <a:endParaRPr lang="en-US" sz="800" kern="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duce maintenance time through faster replacement procedur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reater control of the package position, consistent  synchronization and better control of timing and inlet speed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Fine dosing set-up thanks to new brushless chains driving motors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hange over set-up is quicker and more s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he inlet dosing system originally made with </a:t>
            </a:r>
            <a:r>
              <a:rPr lang="en-US" sz="1200" dirty="0" err="1"/>
              <a:t>Habasit</a:t>
            </a:r>
            <a:r>
              <a:rPr lang="en-US" sz="1200" dirty="0"/>
              <a:t> rubber belt is replaced with the new modular chain MCC and a more accurate servo control by brushless motor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Easier access to chain and easier maintenance procedure: non need to disassemble completely the belt or the roller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vailable on IBH, IBP. IBU. IDU, IDV, IEU, IEV, IFU, IGU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8" y="4561714"/>
            <a:ext cx="950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err="1"/>
              <a:t>Habasit</a:t>
            </a:r>
            <a:r>
              <a:rPr lang="it-IT" sz="1000" dirty="0"/>
              <a:t> </a:t>
            </a:r>
            <a:r>
              <a:rPr lang="it-IT" sz="1000" dirty="0" err="1"/>
              <a:t>belt</a:t>
            </a:r>
            <a:endParaRPr lang="it-IT" sz="1000" dirty="0"/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8" y="4488804"/>
            <a:ext cx="950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/>
              <a:t>Modular MCC </a:t>
            </a:r>
            <a:r>
              <a:rPr lang="it-IT" sz="1000" dirty="0" err="1"/>
              <a:t>chain</a:t>
            </a: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Improve production performanc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2</cp:revision>
  <cp:lastPrinted>2017-09-01T14:01:41Z</cp:lastPrinted>
  <dcterms:created xsi:type="dcterms:W3CDTF">2017-07-10T14:51:51Z</dcterms:created>
  <dcterms:modified xsi:type="dcterms:W3CDTF">2019-06-26T14:1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6:50.7839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